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7372A68-CB9F-4514-B2E7-EE9293DD90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50A9178-5312-4C4E-9CF8-352C948DC4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8F7672F-FB02-44A5-A32F-DF22B5C3D8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372DB81-8BFC-47B9-9684-5FBE5FA3EAA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F57B990-81C6-4BF9-A0D8-0ABC39F955B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15CE9B0-93C0-4A55-8D35-E91BD826997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C902735-DEEB-475D-B3C7-9171BAFF43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B0419A1-4BF8-4D51-AE4E-E75A160E8FF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3D2DA50-7B6C-4DD7-BA28-017E0CC9FAB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D293875-97A1-4DB1-85E6-69DB338F395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754A0F2-CCA2-498C-9C0F-28A527B6B2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47255B1-E053-40C7-A3ED-23AD71938E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1E998EB-9BE7-43BC-8177-1E5234D3A06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F8F8F28-D714-4DF4-B896-F0C7A34C488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E4484E9-1382-4743-9797-3FA099EAF2A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8DC44A2E-A040-49A0-BAC2-569A9122247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9140B9D-CC18-4649-966B-8337324105C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DA422AFD-49D3-4810-888E-CF002B68FE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495C1F4-A421-4222-A650-9AD17501BAB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BAA73FF-701D-48AB-9CC3-595843C3C9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7B7A855-FD4B-4FC1-A378-3F52FC3BD48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7AA7B97-960D-442D-AC58-99140A46727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23/09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9</Words>
  <Application>Microsoft Office PowerPoint</Application>
  <PresentationFormat>Widescreen</PresentationFormat>
  <Paragraphs>53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7</cp:revision>
  <dcterms:created xsi:type="dcterms:W3CDTF">2025-05-09T11:21:43Z</dcterms:created>
  <dcterms:modified xsi:type="dcterms:W3CDTF">2025-09-23T13:22:01Z</dcterms:modified>
</cp:coreProperties>
</file>